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5"/>
  </p:notesMasterIdLst>
  <p:handoutMasterIdLst>
    <p:handoutMasterId r:id="rId16"/>
  </p:handoutMasterIdLst>
  <p:sldIdLst>
    <p:sldId id="256" r:id="rId6"/>
    <p:sldId id="282" r:id="rId7"/>
    <p:sldId id="312" r:id="rId8"/>
    <p:sldId id="340" r:id="rId9"/>
    <p:sldId id="314" r:id="rId10"/>
    <p:sldId id="341" r:id="rId11"/>
    <p:sldId id="342" r:id="rId12"/>
    <p:sldId id="343" r:id="rId13"/>
    <p:sldId id="304" r:id="rId14"/>
  </p:sldIdLst>
  <p:sldSz cx="9144000" cy="6858000" type="screen4x3"/>
  <p:notesSz cx="7010400" cy="93726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0">
          <p15:clr>
            <a:srgbClr val="A4A3A4"/>
          </p15:clr>
        </p15:guide>
        <p15:guide id="2" orient="horz" pos="351">
          <p15:clr>
            <a:srgbClr val="A4A3A4"/>
          </p15:clr>
        </p15:guide>
        <p15:guide id="3" pos="2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diyath, Vineeth" initials="NV" lastIdx="1" clrIdx="0">
    <p:extLst>
      <p:ext uri="{19B8F6BF-5375-455C-9EA6-DF929625EA0E}">
        <p15:presenceInfo xmlns:p15="http://schemas.microsoft.com/office/powerpoint/2012/main" userId="S-1-5-21-1531082355-734649621-3782574898-27051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C5F0B"/>
    <a:srgbClr val="B7BE16"/>
    <a:srgbClr val="A2BFAF"/>
    <a:srgbClr val="ACB7B2"/>
    <a:srgbClr val="FFBC1D"/>
    <a:srgbClr val="AC2B37"/>
    <a:srgbClr val="762C7C"/>
    <a:srgbClr val="AF1C63"/>
    <a:srgbClr val="D42277"/>
    <a:srgbClr val="B1CA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0810" autoAdjust="0"/>
  </p:normalViewPr>
  <p:slideViewPr>
    <p:cSldViewPr snapToGrid="0" snapToObjects="1">
      <p:cViewPr varScale="1">
        <p:scale>
          <a:sx n="81" d="100"/>
          <a:sy n="81" d="100"/>
        </p:scale>
        <p:origin x="1526" y="58"/>
      </p:cViewPr>
      <p:guideLst>
        <p:guide orient="horz" pos="740"/>
        <p:guide orient="horz" pos="351"/>
        <p:guide pos="212"/>
      </p:guideLst>
    </p:cSldViewPr>
  </p:slideViewPr>
  <p:outlineViewPr>
    <p:cViewPr>
      <p:scale>
        <a:sx n="33" d="100"/>
        <a:sy n="33" d="100"/>
      </p:scale>
      <p:origin x="0" y="-20203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16"/>
    </p:cViewPr>
  </p:sorterViewPr>
  <p:notesViewPr>
    <p:cSldViewPr snapToGrid="0" snapToObjects="1">
      <p:cViewPr varScale="1">
        <p:scale>
          <a:sx n="55" d="100"/>
          <a:sy n="55" d="100"/>
        </p:scale>
        <p:origin x="-2538" y="-90"/>
      </p:cViewPr>
      <p:guideLst>
        <p:guide orient="horz" pos="2952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r">
              <a:defRPr sz="1200"/>
            </a:lvl1pPr>
          </a:lstStyle>
          <a:p>
            <a:fld id="{CBC2C562-3ABF-449F-BC7D-78255304C412}" type="datetimeFigureOut">
              <a:rPr lang="en-US" smtClean="0"/>
              <a:pPr/>
              <a:t>10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r">
              <a:defRPr sz="1200"/>
            </a:lvl1pPr>
          </a:lstStyle>
          <a:p>
            <a:fld id="{88C4C71A-1C17-4342-AD83-9B360BA581C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3125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r">
              <a:defRPr sz="1200"/>
            </a:lvl1pPr>
          </a:lstStyle>
          <a:p>
            <a:fld id="{6D0524E5-8614-4D32-A3DF-F32181F74545}" type="datetimeFigureOut">
              <a:rPr lang="en-US" smtClean="0"/>
              <a:pPr/>
              <a:t>10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16" tIns="46808" rIns="93616" bIns="468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51985"/>
            <a:ext cx="5608320" cy="4217670"/>
          </a:xfrm>
          <a:prstGeom prst="rect">
            <a:avLst/>
          </a:prstGeom>
        </p:spPr>
        <p:txBody>
          <a:bodyPr vert="horz" lIns="93616" tIns="46808" rIns="93616" bIns="468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r">
              <a:defRPr sz="1200"/>
            </a:lvl1pPr>
          </a:lstStyle>
          <a:p>
            <a:fld id="{9FF4F04D-5809-46B9-BC34-D0E45399D3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858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500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208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266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273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911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6118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972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2350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398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4.png"/><Relationship Id="rId4" Type="http://schemas.openxmlformats.org/officeDocument/2006/relationships/tags" Target="../tags/tag33.xml"/><Relationship Id="rId9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4.jpe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11" Type="http://schemas.openxmlformats.org/officeDocument/2006/relationships/image" Target="../media/image5.emf"/><Relationship Id="rId5" Type="http://schemas.openxmlformats.org/officeDocument/2006/relationships/tags" Target="../tags/tag9.xml"/><Relationship Id="rId10" Type="http://schemas.openxmlformats.org/officeDocument/2006/relationships/oleObject" Target="../embeddings/oleObject1.bin"/><Relationship Id="rId4" Type="http://schemas.openxmlformats.org/officeDocument/2006/relationships/tags" Target="../tags/tag8.xml"/><Relationship Id="rId9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image" Target="../media/image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9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gradFill>
          <a:gsLst>
            <a:gs pos="50000">
              <a:schemeClr val="accent2"/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2200"/>
            <a:ext cx="9144000" cy="5308676"/>
          </a:xfrm>
          <a:prstGeom prst="rect">
            <a:avLst/>
          </a:prstGeom>
        </p:spPr>
      </p:pic>
      <p:sp>
        <p:nvSpPr>
          <p:cNvPr id="16" name="Rectangle 15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146052" cy="24766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807786" y="6520694"/>
            <a:ext cx="3001425" cy="239021"/>
          </a:xfrm>
          <a:prstGeom prst="rect">
            <a:avLst/>
          </a:prstGeom>
          <a:noFill/>
        </p:spPr>
      </p:pic>
      <p:pic>
        <p:nvPicPr>
          <p:cNvPr id="23" name="Picture 22" descr="capgemini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43210" y="514697"/>
            <a:ext cx="3136080" cy="9586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0" y="2476689"/>
            <a:ext cx="4876800" cy="1965770"/>
          </a:xfrm>
        </p:spPr>
        <p:txBody>
          <a:bodyPr lIns="228600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0" y="4442459"/>
            <a:ext cx="4876800" cy="914400"/>
          </a:xfrm>
        </p:spPr>
        <p:txBody>
          <a:bodyPr lIns="228600" rIns="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573620"/>
            <a:ext cx="3008313" cy="507831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pic>
        <p:nvPicPr>
          <p:cNvPr id="8" name="Picture 4" descr="capgemini_rgb-[Converted]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273049" y="6451601"/>
            <a:ext cx="1289051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1571625" y="6491288"/>
            <a:ext cx="1311578" cy="2231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1000">
                <a:solidFill>
                  <a:srgbClr val="969696"/>
                </a:solidFill>
              </a:rPr>
              <a:t>In collaboration with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gray">
          <a:xfrm>
            <a:off x="2927351" y="6400801"/>
            <a:ext cx="1020763" cy="403225"/>
          </a:xfrm>
          <a:prstGeom prst="rect">
            <a:avLst/>
          </a:prstGeom>
          <a:noFill/>
          <a:ln w="19050">
            <a:solidFill>
              <a:srgbClr val="B2B2B2"/>
            </a:solidFill>
            <a:prstDash val="sysDot"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sz="1000">
                <a:solidFill>
                  <a:srgbClr val="969696"/>
                </a:solidFill>
              </a:rPr>
              <a:t>Client or</a:t>
            </a:r>
            <a:br>
              <a:rPr lang="en-US" sz="1000">
                <a:solidFill>
                  <a:srgbClr val="969696"/>
                </a:solidFill>
              </a:rPr>
            </a:br>
            <a:r>
              <a:rPr lang="en-US" sz="1000">
                <a:solidFill>
                  <a:srgbClr val="969696"/>
                </a:solidFill>
              </a:rPr>
              <a:t>Partner logo</a:t>
            </a:r>
          </a:p>
        </p:txBody>
      </p:sp>
      <p:sp>
        <p:nvSpPr>
          <p:cNvPr id="11" name="Line 7"/>
          <p:cNvSpPr>
            <a:spLocks noChangeShapeType="1"/>
          </p:cNvSpPr>
          <p:nvPr userDrawn="1"/>
        </p:nvSpPr>
        <p:spPr bwMode="gray">
          <a:xfrm>
            <a:off x="8691563" y="6500813"/>
            <a:ext cx="0" cy="239712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2" name="Text Box 8"/>
          <p:cNvSpPr txBox="1">
            <a:spLocks noChangeArrowheads="1"/>
          </p:cNvSpPr>
          <p:nvPr userDrawn="1"/>
        </p:nvSpPr>
        <p:spPr bwMode="gray">
          <a:xfrm>
            <a:off x="8691564" y="6499225"/>
            <a:ext cx="452437" cy="242888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800">
                <a:solidFill>
                  <a:srgbClr val="969696"/>
                </a:solidFill>
                <a:latin typeface="Arial Narrow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80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gray">
          <a:xfrm>
            <a:off x="4106863" y="6484938"/>
            <a:ext cx="4551363" cy="275460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800" dirty="0">
                <a:solidFill>
                  <a:srgbClr val="969696"/>
                </a:solidFill>
                <a:latin typeface="Arial Narrow" pitchFamily="34" charset="0"/>
              </a:rPr>
              <a:t>DOCUMENT TITLE</a:t>
            </a:r>
          </a:p>
          <a:p>
            <a:pPr algn="r" eaLnBrk="0" hangingPunct="0">
              <a:lnSpc>
                <a:spcPct val="85000"/>
              </a:lnSpc>
            </a:pPr>
            <a:r>
              <a:rPr lang="en-US" sz="600" dirty="0" smtClean="0">
                <a:solidFill>
                  <a:srgbClr val="969696"/>
                </a:solidFill>
                <a:latin typeface="Arial Narrow" pitchFamily="34" charset="0"/>
              </a:rPr>
              <a:t>The information contained in this document is proprietary. Copyright © 2011 Capgemini. All rights reserved.</a:t>
            </a:r>
            <a:endParaRPr lang="en-US" sz="6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524707" y="3164093"/>
            <a:ext cx="5987940" cy="158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201483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0040" y="25263"/>
            <a:ext cx="8503920" cy="8229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38968" y="1005841"/>
            <a:ext cx="1384995" cy="518230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5"/>
          <p:cNvSpPr txBox="1">
            <a:spLocks noChangeArrowheads="1"/>
          </p:cNvSpPr>
          <p:nvPr userDrawn="1"/>
        </p:nvSpPr>
        <p:spPr bwMode="gray">
          <a:xfrm rot="5400000">
            <a:off x="-381606" y="2135545"/>
            <a:ext cx="1311578" cy="2231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1000">
                <a:solidFill>
                  <a:srgbClr val="969696"/>
                </a:solidFill>
              </a:rPr>
              <a:t>In collaboration with</a:t>
            </a:r>
          </a:p>
        </p:txBody>
      </p:sp>
      <p:sp>
        <p:nvSpPr>
          <p:cNvPr id="16" name="Rectangle 6"/>
          <p:cNvSpPr>
            <a:spLocks noChangeArrowheads="1"/>
          </p:cNvSpPr>
          <p:nvPr userDrawn="1"/>
        </p:nvSpPr>
        <p:spPr bwMode="gray">
          <a:xfrm rot="5400000">
            <a:off x="-236198" y="3261528"/>
            <a:ext cx="1020763" cy="403225"/>
          </a:xfrm>
          <a:prstGeom prst="rect">
            <a:avLst/>
          </a:prstGeom>
          <a:noFill/>
          <a:ln w="19050">
            <a:solidFill>
              <a:srgbClr val="B2B2B2"/>
            </a:solidFill>
            <a:prstDash val="sysDot"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sz="1000" dirty="0">
                <a:solidFill>
                  <a:srgbClr val="969696"/>
                </a:solidFill>
              </a:rPr>
              <a:t>Client or</a:t>
            </a:r>
            <a:br>
              <a:rPr lang="en-US" sz="1000" dirty="0">
                <a:solidFill>
                  <a:srgbClr val="969696"/>
                </a:solidFill>
              </a:rPr>
            </a:br>
            <a:r>
              <a:rPr lang="en-US" sz="1000" dirty="0">
                <a:solidFill>
                  <a:srgbClr val="969696"/>
                </a:solidFill>
              </a:rPr>
              <a:t>Partner logo</a:t>
            </a:r>
          </a:p>
        </p:txBody>
      </p:sp>
      <p:sp>
        <p:nvSpPr>
          <p:cNvPr id="17" name="Line 7"/>
          <p:cNvSpPr>
            <a:spLocks noChangeShapeType="1"/>
          </p:cNvSpPr>
          <p:nvPr userDrawn="1"/>
        </p:nvSpPr>
        <p:spPr bwMode="gray">
          <a:xfrm rot="5400000">
            <a:off x="274183" y="6303903"/>
            <a:ext cx="0" cy="239712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 rot="5400000">
            <a:off x="47966" y="6528534"/>
            <a:ext cx="452437" cy="242888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800">
                <a:solidFill>
                  <a:srgbClr val="969696"/>
                </a:solidFill>
                <a:latin typeface="Arial Narrow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8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gray">
          <a:xfrm rot="5400000">
            <a:off x="-666778" y="5272489"/>
            <a:ext cx="1881922" cy="353943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800" dirty="0">
                <a:solidFill>
                  <a:srgbClr val="969696"/>
                </a:solidFill>
                <a:latin typeface="Arial Narrow" pitchFamily="34" charset="0"/>
              </a:rPr>
              <a:t>DOCUMENT TITLE</a:t>
            </a:r>
          </a:p>
          <a:p>
            <a:pPr algn="r" eaLnBrk="0" hangingPunct="0">
              <a:lnSpc>
                <a:spcPct val="85000"/>
              </a:lnSpc>
            </a:pPr>
            <a:r>
              <a:rPr lang="en-US" sz="600" dirty="0" smtClean="0">
                <a:solidFill>
                  <a:srgbClr val="969696"/>
                </a:solidFill>
                <a:latin typeface="Arial Narrow" pitchFamily="34" charset="0"/>
              </a:rPr>
              <a:t>The information contained in this document is proprietary. Copyright © 2012 Capgemini. All rights reserved.</a:t>
            </a:r>
            <a:endParaRPr lang="en-US" sz="6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144556" y="274639"/>
            <a:ext cx="925033" cy="62858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6586951" y="274639"/>
            <a:ext cx="1384995" cy="62858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069937" y="1589"/>
            <a:ext cx="1" cy="6858000"/>
            <a:chOff x="8069935" y="1589"/>
            <a:chExt cx="1" cy="6858000"/>
          </a:xfrm>
        </p:grpSpPr>
        <p:sp>
          <p:nvSpPr>
            <p:cNvPr id="8" name="Line 12"/>
            <p:cNvSpPr>
              <a:spLocks noChangeShapeType="1"/>
            </p:cNvSpPr>
            <p:nvPr userDrawn="1"/>
          </p:nvSpPr>
          <p:spPr bwMode="gray">
            <a:xfrm rot="5400000">
              <a:off x="4640935" y="3430589"/>
              <a:ext cx="6858000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3"/>
            <p:cNvSpPr>
              <a:spLocks noChangeShapeType="1"/>
            </p:cNvSpPr>
            <p:nvPr userDrawn="1"/>
          </p:nvSpPr>
          <p:spPr bwMode="gray">
            <a:xfrm rot="5400000">
              <a:off x="6861848" y="1482726"/>
              <a:ext cx="2416175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4" name="Picture 4" descr="capgemini_rgb-[Converted]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 rot="5400000">
            <a:off x="-370342" y="768352"/>
            <a:ext cx="128905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51"/>
          <p:cNvGrpSpPr/>
          <p:nvPr userDrawn="1">
            <p:custDataLst>
              <p:tags r:id="rId3"/>
            </p:custDataLst>
          </p:nvPr>
        </p:nvGrpSpPr>
        <p:grpSpPr>
          <a:xfrm>
            <a:off x="5337166" y="3258545"/>
            <a:ext cx="3416820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31966" y="3617152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round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0,000 people in 40 countries, Capgemini is one of the world's foremost providers of consulting, technology and outsourcing services. The Group reported 2011 global revenues of EUR 9.7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approximately $13.5 billion USD)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00978" y="3468294"/>
            <a:ext cx="479605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4889578" y="3083752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round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0,000 people in 40 countries, Capgemini is one of the world's foremost providers of consulting, technology and outsourcing services. The Group reported 2011 global revenues of EUR 9.7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approximately $13.5 billion USD)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648582" y="2791400"/>
            <a:ext cx="479605" cy="5225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78" r="761"/>
          <a:stretch>
            <a:fillRect/>
          </a:stretch>
        </p:blipFill>
        <p:spPr>
          <a:xfrm>
            <a:off x="0" y="1039369"/>
            <a:ext cx="9144000" cy="542080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514523" y="1968819"/>
            <a:ext cx="5629477" cy="24149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28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394200" y="4609876"/>
            <a:ext cx="4749801" cy="18063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1894" y="3"/>
            <a:ext cx="9145895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5807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3" name="Picture 12" descr="capgemini_rgb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643210" y="514697"/>
            <a:ext cx="3136080" cy="95869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9144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8604" y="1501980"/>
            <a:ext cx="6283986" cy="2950251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Freeform 4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" y="504952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171977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3838"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marL="233363" lvl="0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Click to edit Master text styles</a:t>
            </a:r>
          </a:p>
          <a:p>
            <a:pPr marL="233363" lvl="1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Second level</a:t>
            </a:r>
          </a:p>
          <a:p>
            <a:pPr marL="233363" lvl="2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Third level</a:t>
            </a:r>
          </a:p>
          <a:p>
            <a:pPr marL="233363" lvl="3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ourth level</a:t>
            </a:r>
          </a:p>
          <a:p>
            <a:pPr marL="233363" lvl="4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88893642.jpg"/>
          <p:cNvPicPr>
            <a:picLocks noChangeAspect="1"/>
          </p:cNvPicPr>
          <p:nvPr userDrawn="1"/>
        </p:nvPicPr>
        <p:blipFill>
          <a:blip r:embed="rId4" cstate="print"/>
          <a:srcRect l="8198" t="13828" r="13096"/>
          <a:stretch>
            <a:fillRect/>
          </a:stretch>
        </p:blipFill>
        <p:spPr>
          <a:xfrm>
            <a:off x="0" y="0"/>
            <a:ext cx="9144000" cy="6661118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085" y="3384914"/>
            <a:ext cx="914508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4699000"/>
            <a:ext cx="9144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63600" y="5598319"/>
            <a:ext cx="7556500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6" cstate="print"/>
          <a:srcRect l="240" t="179" r="380" b="511"/>
          <a:stretch>
            <a:fillRect/>
          </a:stretch>
        </p:blipFill>
        <p:spPr>
          <a:xfrm>
            <a:off x="0" y="1050622"/>
            <a:ext cx="9144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894" y="0"/>
            <a:ext cx="9146339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705190"/>
            <a:ext cx="9144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36550" y="1847850"/>
            <a:ext cx="7258050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040" y="1197735"/>
            <a:ext cx="4114800" cy="1384995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1778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1825" indent="-171450" algn="l" defTabSz="86201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03275" indent="-1714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709160" y="1197735"/>
            <a:ext cx="4114800" cy="1384995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1778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1825" indent="-171450" algn="l" defTabSz="86201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03275" indent="-1714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0040" y="2026014"/>
            <a:ext cx="4114800" cy="3417862"/>
          </a:xfr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1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5800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122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Third level</a:t>
            </a:r>
          </a:p>
          <a:p>
            <a:pPr marL="0" lvl="3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ourth level</a:t>
            </a:r>
          </a:p>
          <a:p>
            <a:pPr marL="0" lvl="4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9160" y="2026014"/>
            <a:ext cx="4114800" cy="3417862"/>
          </a:xfr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1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5800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122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Third level</a:t>
            </a:r>
          </a:p>
          <a:p>
            <a:pPr marL="0" lvl="3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ourth level</a:t>
            </a:r>
          </a:p>
          <a:p>
            <a:pPr marL="0" lvl="4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471315"/>
            <a:ext cx="4114800" cy="548640"/>
          </a:xfrm>
          <a:gradFill flip="none" rotWithShape="1">
            <a:gsLst>
              <a:gs pos="75000">
                <a:schemeClr val="accent2"/>
              </a:gs>
              <a:gs pos="100000">
                <a:schemeClr val="accent4"/>
              </a:gs>
            </a:gsLst>
            <a:lin ang="16200000" scaled="1"/>
            <a:tileRect/>
          </a:gradFill>
          <a:ln w="12700">
            <a:solidFill>
              <a:schemeClr val="accent2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9160" y="1471315"/>
            <a:ext cx="4114800" cy="548640"/>
          </a:xfrm>
          <a:gradFill flip="none" rotWithShape="1">
            <a:gsLst>
              <a:gs pos="75000">
                <a:schemeClr val="accent2"/>
              </a:gs>
              <a:gs pos="100000">
                <a:schemeClr val="accent4"/>
              </a:gs>
            </a:gsLst>
            <a:lin ang="16200000" scaled="1"/>
            <a:tileRect/>
          </a:gradFill>
          <a:ln w="12700">
            <a:solidFill>
              <a:schemeClr val="accent2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image" Target="../media/image5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9.png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oleObject" Target="../embeddings/oleObject4.bin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4.jpeg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3.gif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4.vml"/><Relationship Id="rId15" Type="http://schemas.openxmlformats.org/officeDocument/2006/relationships/tags" Target="../tags/tag30.xml"/><Relationship Id="rId23" Type="http://schemas.openxmlformats.org/officeDocument/2006/relationships/image" Target="../media/image10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25.xml"/><Relationship Id="rId19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" y="25263"/>
            <a:ext cx="8823957" cy="8229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274320" tIns="36576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234215"/>
            <a:ext cx="8503920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33363" lvl="0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Click to edit Master text styles</a:t>
            </a:r>
          </a:p>
          <a:p>
            <a:pPr marL="233363" lvl="1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Second level</a:t>
            </a:r>
          </a:p>
          <a:p>
            <a:pPr marL="233363" lvl="2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Third level</a:t>
            </a:r>
          </a:p>
          <a:p>
            <a:pPr marL="233363" lvl="3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ourth level</a:t>
            </a:r>
          </a:p>
          <a:p>
            <a:pPr marL="233363" lvl="4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1" name="Picture 4" descr="capgemini_rgb-[Converted]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gray">
          <a:xfrm>
            <a:off x="273049" y="6451601"/>
            <a:ext cx="1289051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gray">
          <a:xfrm>
            <a:off x="1571625" y="6491288"/>
            <a:ext cx="1311578" cy="2231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1000">
                <a:solidFill>
                  <a:srgbClr val="969696"/>
                </a:solidFill>
              </a:rPr>
              <a:t>In collaboration with</a:t>
            </a:r>
          </a:p>
        </p:txBody>
      </p:sp>
      <p:sp>
        <p:nvSpPr>
          <p:cNvPr id="14" name="Line 7"/>
          <p:cNvSpPr>
            <a:spLocks noChangeShapeType="1"/>
          </p:cNvSpPr>
          <p:nvPr/>
        </p:nvSpPr>
        <p:spPr bwMode="gray">
          <a:xfrm>
            <a:off x="8691563" y="6500813"/>
            <a:ext cx="0" cy="239712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gray">
          <a:xfrm>
            <a:off x="8691564" y="6499225"/>
            <a:ext cx="452437" cy="242888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800">
                <a:solidFill>
                  <a:srgbClr val="969696"/>
                </a:solidFill>
                <a:latin typeface="Arial Narrow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80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gray">
          <a:xfrm>
            <a:off x="4106863" y="6548438"/>
            <a:ext cx="4551363" cy="170816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00" dirty="0" smtClean="0">
                <a:solidFill>
                  <a:schemeClr val="tx2"/>
                </a:solidFill>
                <a:latin typeface="Arial Narrow" pitchFamily="34" charset="0"/>
              </a:rPr>
              <a:t>The information contained in this document is proprietary. Copyright © 2012 Capgemini. All rights reserved.</a:t>
            </a:r>
            <a:endParaRPr lang="en-US" sz="600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" y="504952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8" name="Rectangle 17"/>
          <p:cNvSpPr/>
          <p:nvPr>
            <p:custDataLst>
              <p:tags r:id="rId18"/>
            </p:custDataLst>
          </p:nvPr>
        </p:nvSpPr>
        <p:spPr>
          <a:xfrm>
            <a:off x="6682612" y="6418258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600" dirty="0" smtClean="0">
                <a:solidFill>
                  <a:schemeClr val="tx2"/>
                </a:solidFill>
                <a:latin typeface="Arial Narrow" pitchFamily="34" charset="0"/>
              </a:rPr>
              <a:t>Presentation Title | Date</a:t>
            </a:r>
            <a:endParaRPr lang="en-US" sz="600" dirty="0">
              <a:solidFill>
                <a:schemeClr val="tx2"/>
              </a:solidFill>
              <a:latin typeface="Arial Narrow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3" r:id="rId3"/>
    <p:sldLayoutId id="2147483660" r:id="rId4"/>
    <p:sldLayoutId id="2147483650" r:id="rId5"/>
    <p:sldLayoutId id="2147483651" r:id="rId6"/>
    <p:sldLayoutId id="2147483668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fontAlgn="base" latinLnBrk="0" hangingPunct="1">
        <a:spcBef>
          <a:spcPct val="0"/>
        </a:spcBef>
        <a:spcAft>
          <a:spcPct val="0"/>
        </a:spcAft>
        <a:buNone/>
        <a:defRPr lang="en-US" sz="2200" b="1" kern="1200" dirty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lang="en-US" sz="16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lang="en-US" sz="16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25525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lang="en-US" sz="14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17625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41463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lang="en-US" sz="1200" b="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capgemini_rgb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592410" y="844897"/>
            <a:ext cx="3027090" cy="92538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529" y="1677994"/>
            <a:ext cx="9145530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5069198" y="1173628"/>
            <a:ext cx="3364886" cy="29029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5099002" y="6379671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2012 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6220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7328542" y="5932547"/>
            <a:ext cx="256821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7638153" y="5932547"/>
            <a:ext cx="259674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218819" y="5932547"/>
            <a:ext cx="259674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8531283" y="5932547"/>
            <a:ext cx="259674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rcRect l="4793" t="6316" r="5718" b="7969"/>
          <a:stretch>
            <a:fillRect/>
          </a:stretch>
        </p:blipFill>
        <p:spPr>
          <a:xfrm>
            <a:off x="7950618" y="5932550"/>
            <a:ext cx="215411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r2d2.capgemini.com/IWRetainWeb/IWISAPIRedirect.dll/Files/static/html/webportal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269027" y="766783"/>
            <a:ext cx="4876800" cy="1965770"/>
          </a:xfrm>
        </p:spPr>
        <p:txBody>
          <a:bodyPr/>
          <a:lstStyle/>
          <a:p>
            <a:r>
              <a:rPr lang="en-US" dirty="0" smtClean="0"/>
              <a:t>R2D2-Skills Porta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b-Title</a:t>
            </a:r>
          </a:p>
          <a:p>
            <a:r>
              <a:rPr lang="en-US" dirty="0" smtClean="0"/>
              <a:t>Author</a:t>
            </a:r>
          </a:p>
          <a:p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</a:t>
            </a:r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0040" y="2010963"/>
            <a:ext cx="8503920" cy="901919"/>
          </a:xfrm>
        </p:spPr>
        <p:txBody>
          <a:bodyPr/>
          <a:lstStyle/>
          <a:p>
            <a:r>
              <a:rPr lang="da-DK" dirty="0" smtClean="0"/>
              <a:t>At the end of this module, the participants will be able </a:t>
            </a:r>
            <a:r>
              <a:rPr lang="da-DK" dirty="0" smtClean="0"/>
              <a:t>to update their roles, skills and certifications on the R2D2 Skills Portal</a:t>
            </a:r>
            <a:endParaRPr lang="da-DK" dirty="0" smtClean="0"/>
          </a:p>
          <a:p>
            <a:pPr lvl="1"/>
            <a:endParaRPr lang="da-DK" dirty="0" smtClean="0"/>
          </a:p>
          <a:p>
            <a:pPr marL="341313" lvl="2" indent="0">
              <a:buNone/>
            </a:pPr>
            <a:endParaRPr lang="da-DK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ill Portal- Acces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0715" y="2139465"/>
            <a:ext cx="8503920" cy="1461939"/>
          </a:xfrm>
        </p:spPr>
        <p:txBody>
          <a:bodyPr/>
          <a:lstStyle/>
          <a:p>
            <a:r>
              <a:rPr lang="en-US" dirty="0" smtClean="0">
                <a:hlinkClick r:id="rId3"/>
              </a:rPr>
              <a:t>http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r2d2.capgemini.com/IWRetainWeb/IWISAPIRedirect.dll/Files/static/html/webportal.html</a:t>
            </a:r>
            <a:endParaRPr lang="en-US" dirty="0" smtClean="0"/>
          </a:p>
          <a:p>
            <a:r>
              <a:rPr lang="en-US" b="0" dirty="0" smtClean="0"/>
              <a:t>The link opens to the Summary page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43170" y="1366886"/>
            <a:ext cx="6485943" cy="6617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The R2D2 Skill portal can be accessed by using the link given below. 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All resources in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Capgemini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have default access to the Skill Portal.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72" y="3139126"/>
            <a:ext cx="6417487" cy="314294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36115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ills Portal- Details tab- Personal Detail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66" y="1274974"/>
            <a:ext cx="8088199" cy="183822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480766" y="3773624"/>
            <a:ext cx="8088199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Information in the Personal Details tab can be updated only by HR or the Service Line 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Resource Manager aligned to the r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esource.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The resource is expected to connect with either of them to correct information. 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Depending on the information to be updated, u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pdates can take place real time or after 24 hour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205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ills Portal- Delivery Profi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54" y="3131856"/>
            <a:ext cx="7956223" cy="313490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388412" y="1329179"/>
            <a:ext cx="827290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Delivery Profile is most relevant for resources to update information.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lick on the Delivery Profile tab to access skills page. This page will show information on 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the delivery role, delivery skills, internal certification, external certification etc.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lick on Edit tab to update or change information on this page.</a:t>
            </a:r>
          </a:p>
          <a:p>
            <a:pPr>
              <a:spcAft>
                <a:spcPts val="600"/>
              </a:spcAft>
            </a:pPr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46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Portal- Delivery Profi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15889" y="1383994"/>
            <a:ext cx="8408071" cy="13080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lick on Browse all tab to pull down the categories to update. Delivery Roles, 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Delivery Skills, Internal certifications, external certifications etc. are listed in the drop down.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licking on Delivery Skills will further expand the category.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lick on the relevant skill to update the Primary skill. 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89" y="3127555"/>
            <a:ext cx="4080697" cy="304700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390" y="3127556"/>
            <a:ext cx="4044570" cy="304700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9108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ills Portal- Delivery Profi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88412" y="1329179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96" y="1329179"/>
            <a:ext cx="4006156" cy="248867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816" y="1329178"/>
            <a:ext cx="3921551" cy="248867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97" y="3945222"/>
            <a:ext cx="7084035" cy="244615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7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lls Portal- Delivery </a:t>
            </a:r>
            <a:r>
              <a:rPr lang="en-US" dirty="0" smtClean="0"/>
              <a:t>Profile &amp; Preference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75034" y="1106857"/>
            <a:ext cx="838985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In case of External or Internal Certification, the date of obtaining the certification as well a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the validity of the certification needs to be updated.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767" y="1768577"/>
            <a:ext cx="6500423" cy="183657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767" y="4097183"/>
            <a:ext cx="6500424" cy="210940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1107107" y="3681892"/>
            <a:ext cx="67104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The Preferences page allows the resource to update travel preferences 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48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Capgemini_NA_PowerPoint_Template_2012">
  <a:themeElements>
    <a:clrScheme name="Custom 7">
      <a:dk1>
        <a:sysClr val="windowText" lastClr="000000"/>
      </a:dk1>
      <a:lt1>
        <a:sysClr val="window" lastClr="FFFFFF"/>
      </a:lt1>
      <a:dk2>
        <a:srgbClr val="969696"/>
      </a:dk2>
      <a:lt2>
        <a:srgbClr val="C0C0C0"/>
      </a:lt2>
      <a:accent1>
        <a:srgbClr val="263147"/>
      </a:accent1>
      <a:accent2>
        <a:srgbClr val="009ACC"/>
      </a:accent2>
      <a:accent3>
        <a:srgbClr val="6A9529"/>
      </a:accent3>
      <a:accent4>
        <a:srgbClr val="40B3D6"/>
      </a:accent4>
      <a:accent5>
        <a:srgbClr val="E47E1A"/>
      </a:accent5>
      <a:accent6>
        <a:srgbClr val="7FCCE3"/>
      </a:accent6>
      <a:hlink>
        <a:srgbClr val="AC2B37"/>
      </a:hlink>
      <a:folHlink>
        <a:srgbClr val="762C7C"/>
      </a:folHlink>
    </a:clrScheme>
    <a:fontScheme name="Capgemini_N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Aft>
            <a:spcPts val="600"/>
          </a:spcAft>
          <a:defRPr sz="12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2827E8E805E843B603736DA2D4051A" ma:contentTypeVersion="1" ma:contentTypeDescription="Create a new document." ma:contentTypeScope="" ma:versionID="2a596591045a07c3b17cbc55784ab6ce">
  <xsd:schema xmlns:xsd="http://www.w3.org/2001/XMLSchema" xmlns:xs="http://www.w3.org/2001/XMLSchema" xmlns:p="http://schemas.microsoft.com/office/2006/metadata/properties" xmlns:ns2="http://schemas.microsoft.com/sharepoint/v4" targetNamespace="http://schemas.microsoft.com/office/2006/metadata/properties" ma:root="true" ma:fieldsID="ab8227420bbcde84fbf94b55ef4da77a" ns2:_=""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6BC6ECCF-578A-461B-8ABB-BCC32BDA5D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AE21DE3-38A8-40CF-BFD2-F6435EF3F8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09CE7FF-1BC1-48B2-A1B0-D045B7F54C7A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_NA_PowerPoint_Template_2012</Template>
  <TotalTime>15953</TotalTime>
  <Words>307</Words>
  <Application>Microsoft Office PowerPoint</Application>
  <PresentationFormat>On-screen Show (4:3)</PresentationFormat>
  <Paragraphs>40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Calibri</vt:lpstr>
      <vt:lpstr>Wingdings</vt:lpstr>
      <vt:lpstr>Capgemini_NA_PowerPoint_Template_2012</vt:lpstr>
      <vt:lpstr>Closing slides</vt:lpstr>
      <vt:lpstr>think-cell Slide</vt:lpstr>
      <vt:lpstr>R2D2-Skills Portal  </vt:lpstr>
      <vt:lpstr>Module Objective</vt:lpstr>
      <vt:lpstr>Skill Portal- Access</vt:lpstr>
      <vt:lpstr>Skills Portal- Details tab- Personal Details</vt:lpstr>
      <vt:lpstr>Skills Portal- Delivery Profile</vt:lpstr>
      <vt:lpstr>Skills Portal- Delivery Profile</vt:lpstr>
      <vt:lpstr>Skills Portal- Delivery Profile</vt:lpstr>
      <vt:lpstr>Skills Portal- Delivery Profile &amp; Preferences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2 Lines Maximum</dc:title>
  <dc:creator>Nediyath, Vineeth</dc:creator>
  <cp:lastModifiedBy>Nediyath, Vineeth</cp:lastModifiedBy>
  <cp:revision>176</cp:revision>
  <dcterms:created xsi:type="dcterms:W3CDTF">2017-03-21T11:34:10Z</dcterms:created>
  <dcterms:modified xsi:type="dcterms:W3CDTF">2017-10-30T14:2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2827E8E805E843B603736DA2D4051A</vt:lpwstr>
  </property>
</Properties>
</file>